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sldIdLst>
    <p:sldId id="268" r:id="rId2"/>
    <p:sldId id="269" r:id="rId3"/>
    <p:sldId id="270" r:id="rId4"/>
    <p:sldId id="272" r:id="rId5"/>
    <p:sldId id="2147471066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20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ldonado, Mitzli" userId="7605d4ee-eee3-4411-b1d3-c24308e586ba" providerId="ADAL" clId="{2ECC3FBD-1245-46B9-9C09-9BC394D2B873}"/>
    <pc:docChg chg="undo custSel delSld modSld">
      <pc:chgData name="Maldonado, Mitzli" userId="7605d4ee-eee3-4411-b1d3-c24308e586ba" providerId="ADAL" clId="{2ECC3FBD-1245-46B9-9C09-9BC394D2B873}" dt="2023-09-26T01:03:14.799" v="230" actId="1076"/>
      <pc:docMkLst>
        <pc:docMk/>
      </pc:docMkLst>
      <pc:sldChg chg="modSp mod">
        <pc:chgData name="Maldonado, Mitzli" userId="7605d4ee-eee3-4411-b1d3-c24308e586ba" providerId="ADAL" clId="{2ECC3FBD-1245-46B9-9C09-9BC394D2B873}" dt="2023-09-26T00:57:30.434" v="109" actId="1076"/>
        <pc:sldMkLst>
          <pc:docMk/>
          <pc:sldMk cId="1041855508" sldId="268"/>
        </pc:sldMkLst>
        <pc:spChg chg="mod">
          <ac:chgData name="Maldonado, Mitzli" userId="7605d4ee-eee3-4411-b1d3-c24308e586ba" providerId="ADAL" clId="{2ECC3FBD-1245-46B9-9C09-9BC394D2B873}" dt="2023-09-26T00:57:30.434" v="109" actId="1076"/>
          <ac:spMkLst>
            <pc:docMk/>
            <pc:sldMk cId="1041855508" sldId="268"/>
            <ac:spMk id="2" creationId="{B61FE75C-A767-C910-E92D-2D8621B83024}"/>
          </ac:spMkLst>
        </pc:spChg>
        <pc:spChg chg="mod">
          <ac:chgData name="Maldonado, Mitzli" userId="7605d4ee-eee3-4411-b1d3-c24308e586ba" providerId="ADAL" clId="{2ECC3FBD-1245-46B9-9C09-9BC394D2B873}" dt="2023-09-26T00:54:21.089" v="0" actId="2711"/>
          <ac:spMkLst>
            <pc:docMk/>
            <pc:sldMk cId="1041855508" sldId="268"/>
            <ac:spMk id="3" creationId="{7195CBB9-9B20-9320-6100-E4179A7EADF9}"/>
          </ac:spMkLst>
        </pc:spChg>
        <pc:spChg chg="mod">
          <ac:chgData name="Maldonado, Mitzli" userId="7605d4ee-eee3-4411-b1d3-c24308e586ba" providerId="ADAL" clId="{2ECC3FBD-1245-46B9-9C09-9BC394D2B873}" dt="2023-09-26T00:57:13.864" v="75" actId="20577"/>
          <ac:spMkLst>
            <pc:docMk/>
            <pc:sldMk cId="1041855508" sldId="268"/>
            <ac:spMk id="4" creationId="{3FB73932-4FBB-5A77-7406-B67AAF3F5A7D}"/>
          </ac:spMkLst>
        </pc:spChg>
      </pc:sldChg>
      <pc:sldChg chg="addSp delSp modSp mod">
        <pc:chgData name="Maldonado, Mitzli" userId="7605d4ee-eee3-4411-b1d3-c24308e586ba" providerId="ADAL" clId="{2ECC3FBD-1245-46B9-9C09-9BC394D2B873}" dt="2023-09-26T01:00:30.204" v="152" actId="1076"/>
        <pc:sldMkLst>
          <pc:docMk/>
          <pc:sldMk cId="74020907" sldId="269"/>
        </pc:sldMkLst>
        <pc:spChg chg="mod">
          <ac:chgData name="Maldonado, Mitzli" userId="7605d4ee-eee3-4411-b1d3-c24308e586ba" providerId="ADAL" clId="{2ECC3FBD-1245-46B9-9C09-9BC394D2B873}" dt="2023-09-26T00:57:34.705" v="110"/>
          <ac:spMkLst>
            <pc:docMk/>
            <pc:sldMk cId="74020907" sldId="269"/>
            <ac:spMk id="2" creationId="{DC43DD72-777F-06DA-2F85-18480CB59052}"/>
          </ac:spMkLst>
        </pc:spChg>
        <pc:spChg chg="mod">
          <ac:chgData name="Maldonado, Mitzli" userId="7605d4ee-eee3-4411-b1d3-c24308e586ba" providerId="ADAL" clId="{2ECC3FBD-1245-46B9-9C09-9BC394D2B873}" dt="2023-09-26T01:00:30.204" v="152" actId="1076"/>
          <ac:spMkLst>
            <pc:docMk/>
            <pc:sldMk cId="74020907" sldId="269"/>
            <ac:spMk id="3" creationId="{532081B0-0D6F-F50C-65B6-2C63B7FFF08E}"/>
          </ac:spMkLst>
        </pc:spChg>
        <pc:picChg chg="del">
          <ac:chgData name="Maldonado, Mitzli" userId="7605d4ee-eee3-4411-b1d3-c24308e586ba" providerId="ADAL" clId="{2ECC3FBD-1245-46B9-9C09-9BC394D2B873}" dt="2023-09-26T00:55:18.151" v="4" actId="478"/>
          <ac:picMkLst>
            <pc:docMk/>
            <pc:sldMk cId="74020907" sldId="269"/>
            <ac:picMk id="4" creationId="{ADE8A4BA-EF6F-88A3-C2FE-4F6158024821}"/>
          </ac:picMkLst>
        </pc:picChg>
        <pc:picChg chg="add del mod">
          <ac:chgData name="Maldonado, Mitzli" userId="7605d4ee-eee3-4411-b1d3-c24308e586ba" providerId="ADAL" clId="{2ECC3FBD-1245-46B9-9C09-9BC394D2B873}" dt="2023-09-26T00:59:00.183" v="126" actId="478"/>
          <ac:picMkLst>
            <pc:docMk/>
            <pc:sldMk cId="74020907" sldId="269"/>
            <ac:picMk id="1026" creationId="{F9D60EAA-1DF4-4699-DA69-9B5BD0C7D0B4}"/>
          </ac:picMkLst>
        </pc:picChg>
        <pc:picChg chg="add mod">
          <ac:chgData name="Maldonado, Mitzli" userId="7605d4ee-eee3-4411-b1d3-c24308e586ba" providerId="ADAL" clId="{2ECC3FBD-1245-46B9-9C09-9BC394D2B873}" dt="2023-09-26T01:00:25.379" v="151" actId="1076"/>
          <ac:picMkLst>
            <pc:docMk/>
            <pc:sldMk cId="74020907" sldId="269"/>
            <ac:picMk id="1028" creationId="{3ED52181-142D-7F18-2411-F0F1F04D7618}"/>
          </ac:picMkLst>
        </pc:picChg>
      </pc:sldChg>
      <pc:sldChg chg="modSp mod">
        <pc:chgData name="Maldonado, Mitzli" userId="7605d4ee-eee3-4411-b1d3-c24308e586ba" providerId="ADAL" clId="{2ECC3FBD-1245-46B9-9C09-9BC394D2B873}" dt="2023-09-26T00:56:31.283" v="58" actId="20577"/>
        <pc:sldMkLst>
          <pc:docMk/>
          <pc:sldMk cId="821938519" sldId="270"/>
        </pc:sldMkLst>
        <pc:spChg chg="mod">
          <ac:chgData name="Maldonado, Mitzli" userId="7605d4ee-eee3-4411-b1d3-c24308e586ba" providerId="ADAL" clId="{2ECC3FBD-1245-46B9-9C09-9BC394D2B873}" dt="2023-09-26T00:55:43.726" v="21" actId="14100"/>
          <ac:spMkLst>
            <pc:docMk/>
            <pc:sldMk cId="821938519" sldId="270"/>
            <ac:spMk id="2" creationId="{9EE677F3-DF04-E7A9-88AB-A92C3C6D0369}"/>
          </ac:spMkLst>
        </pc:spChg>
        <pc:spChg chg="mod">
          <ac:chgData name="Maldonado, Mitzli" userId="7605d4ee-eee3-4411-b1d3-c24308e586ba" providerId="ADAL" clId="{2ECC3FBD-1245-46B9-9C09-9BC394D2B873}" dt="2023-09-26T00:56:31.283" v="58" actId="20577"/>
          <ac:spMkLst>
            <pc:docMk/>
            <pc:sldMk cId="821938519" sldId="270"/>
            <ac:spMk id="3" creationId="{3A6A84B0-B867-3C42-E21F-7F5C6E5A635D}"/>
          </ac:spMkLst>
        </pc:spChg>
      </pc:sldChg>
      <pc:sldChg chg="modSp del mod">
        <pc:chgData name="Maldonado, Mitzli" userId="7605d4ee-eee3-4411-b1d3-c24308e586ba" providerId="ADAL" clId="{2ECC3FBD-1245-46B9-9C09-9BC394D2B873}" dt="2023-09-26T01:00:44.078" v="153" actId="47"/>
        <pc:sldMkLst>
          <pc:docMk/>
          <pc:sldMk cId="3173441287" sldId="271"/>
        </pc:sldMkLst>
        <pc:spChg chg="mod">
          <ac:chgData name="Maldonado, Mitzli" userId="7605d4ee-eee3-4411-b1d3-c24308e586ba" providerId="ADAL" clId="{2ECC3FBD-1245-46B9-9C09-9BC394D2B873}" dt="2023-09-26T00:55:18.259" v="5" actId="27636"/>
          <ac:spMkLst>
            <pc:docMk/>
            <pc:sldMk cId="3173441287" sldId="271"/>
            <ac:spMk id="2" creationId="{35DCFD55-B3D8-6C24-F127-45E8B752FED0}"/>
          </ac:spMkLst>
        </pc:spChg>
      </pc:sldChg>
      <pc:sldChg chg="modSp mod">
        <pc:chgData name="Maldonado, Mitzli" userId="7605d4ee-eee3-4411-b1d3-c24308e586ba" providerId="ADAL" clId="{2ECC3FBD-1245-46B9-9C09-9BC394D2B873}" dt="2023-09-26T01:01:02.942" v="155"/>
        <pc:sldMkLst>
          <pc:docMk/>
          <pc:sldMk cId="2126140071" sldId="272"/>
        </pc:sldMkLst>
        <pc:spChg chg="mod">
          <ac:chgData name="Maldonado, Mitzli" userId="7605d4ee-eee3-4411-b1d3-c24308e586ba" providerId="ADAL" clId="{2ECC3FBD-1245-46B9-9C09-9BC394D2B873}" dt="2023-09-26T00:56:59.426" v="60"/>
          <ac:spMkLst>
            <pc:docMk/>
            <pc:sldMk cId="2126140071" sldId="272"/>
            <ac:spMk id="2" creationId="{05171138-E9AC-D254-F0C6-28D6A6EA3756}"/>
          </ac:spMkLst>
        </pc:spChg>
        <pc:spChg chg="mod">
          <ac:chgData name="Maldonado, Mitzli" userId="7605d4ee-eee3-4411-b1d3-c24308e586ba" providerId="ADAL" clId="{2ECC3FBD-1245-46B9-9C09-9BC394D2B873}" dt="2023-09-26T01:01:02.942" v="155"/>
          <ac:spMkLst>
            <pc:docMk/>
            <pc:sldMk cId="2126140071" sldId="272"/>
            <ac:spMk id="3" creationId="{57C1E5FA-6154-C2FE-86C0-218F121850C2}"/>
          </ac:spMkLst>
        </pc:spChg>
      </pc:sldChg>
      <pc:sldChg chg="modSp mod">
        <pc:chgData name="Maldonado, Mitzli" userId="7605d4ee-eee3-4411-b1d3-c24308e586ba" providerId="ADAL" clId="{2ECC3FBD-1245-46B9-9C09-9BC394D2B873}" dt="2023-09-26T01:03:14.799" v="230" actId="1076"/>
        <pc:sldMkLst>
          <pc:docMk/>
          <pc:sldMk cId="1072906337" sldId="2147471066"/>
        </pc:sldMkLst>
        <pc:spChg chg="mod">
          <ac:chgData name="Maldonado, Mitzli" userId="7605d4ee-eee3-4411-b1d3-c24308e586ba" providerId="ADAL" clId="{2ECC3FBD-1245-46B9-9C09-9BC394D2B873}" dt="2023-09-26T01:03:14.799" v="230" actId="1076"/>
          <ac:spMkLst>
            <pc:docMk/>
            <pc:sldMk cId="1072906337" sldId="2147471066"/>
            <ac:spMk id="2" creationId="{F332B896-23B8-5048-69AA-D5D6E78D7610}"/>
          </ac:spMkLst>
        </pc:spChg>
        <pc:spChg chg="mod">
          <ac:chgData name="Maldonado, Mitzli" userId="7605d4ee-eee3-4411-b1d3-c24308e586ba" providerId="ADAL" clId="{2ECC3FBD-1245-46B9-9C09-9BC394D2B873}" dt="2023-09-26T01:01:11.593" v="157"/>
          <ac:spMkLst>
            <pc:docMk/>
            <pc:sldMk cId="1072906337" sldId="2147471066"/>
            <ac:spMk id="4" creationId="{5A38E810-2026-7DCD-BDB0-7CA4C1955F43}"/>
          </ac:spMkLst>
        </pc:spChg>
        <pc:graphicFrameChg chg="mod modGraphic">
          <ac:chgData name="Maldonado, Mitzli" userId="7605d4ee-eee3-4411-b1d3-c24308e586ba" providerId="ADAL" clId="{2ECC3FBD-1245-46B9-9C09-9BC394D2B873}" dt="2023-09-26T01:02:46.781" v="224" actId="1076"/>
          <ac:graphicFrameMkLst>
            <pc:docMk/>
            <pc:sldMk cId="1072906337" sldId="2147471066"/>
            <ac:graphicFrameMk id="3" creationId="{04838749-46C2-C0A9-4491-9022AA9A12BE}"/>
          </ac:graphicFrameMkLst>
        </pc:graphicFrameChg>
        <pc:picChg chg="mod">
          <ac:chgData name="Maldonado, Mitzli" userId="7605d4ee-eee3-4411-b1d3-c24308e586ba" providerId="ADAL" clId="{2ECC3FBD-1245-46B9-9C09-9BC394D2B873}" dt="2023-09-26T01:02:48.663" v="225" actId="1076"/>
          <ac:picMkLst>
            <pc:docMk/>
            <pc:sldMk cId="1072906337" sldId="2147471066"/>
            <ac:picMk id="7" creationId="{93279A49-3E6F-6AE5-3FD2-C5B8072D2688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241430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F19F96B-9D0D-6B4F-9C44-791776F7DAA0}"/>
              </a:ext>
            </a:extLst>
          </p:cNvPr>
          <p:cNvGrpSpPr/>
          <p:nvPr/>
        </p:nvGrpSpPr>
        <p:grpSpPr>
          <a:xfrm>
            <a:off x="6773333" y="0"/>
            <a:ext cx="5423235" cy="6852676"/>
            <a:chOff x="6773333" y="0"/>
            <a:chExt cx="5423235" cy="6852676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934255D-B7F7-EA41-9778-4E9208EF1BAE}"/>
                </a:ext>
              </a:extLst>
            </p:cNvPr>
            <p:cNvSpPr/>
            <p:nvPr/>
          </p:nvSpPr>
          <p:spPr>
            <a:xfrm>
              <a:off x="6773333" y="0"/>
              <a:ext cx="5423235" cy="6852676"/>
            </a:xfrm>
            <a:custGeom>
              <a:avLst/>
              <a:gdLst>
                <a:gd name="connsiteX0" fmla="*/ 5423235 w 5423235"/>
                <a:gd name="connsiteY0" fmla="*/ 6852676 h 6852676"/>
                <a:gd name="connsiteX1" fmla="*/ 0 w 5423235"/>
                <a:gd name="connsiteY1" fmla="*/ 6846845 h 6852676"/>
                <a:gd name="connsiteX2" fmla="*/ 3625685 w 5423235"/>
                <a:gd name="connsiteY2" fmla="*/ 0 h 6852676"/>
                <a:gd name="connsiteX3" fmla="*/ 5422474 w 5423235"/>
                <a:gd name="connsiteY3" fmla="*/ 5831 h 6852676"/>
                <a:gd name="connsiteX4" fmla="*/ 5423235 w 5423235"/>
                <a:gd name="connsiteY4" fmla="*/ 6852676 h 6852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3235" h="6852676">
                  <a:moveTo>
                    <a:pt x="5423235" y="6852676"/>
                  </a:moveTo>
                  <a:lnTo>
                    <a:pt x="0" y="6846845"/>
                  </a:lnTo>
                  <a:lnTo>
                    <a:pt x="3625685" y="0"/>
                  </a:lnTo>
                  <a:lnTo>
                    <a:pt x="5422474" y="5831"/>
                  </a:lnTo>
                  <a:lnTo>
                    <a:pt x="5423235" y="6852676"/>
                  </a:lnTo>
                  <a:close/>
                </a:path>
              </a:pathLst>
            </a:custGeom>
            <a:solidFill>
              <a:srgbClr val="009BDA"/>
            </a:solidFill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6166090-9B2C-3947-B388-B293B6EFA10B}"/>
                </a:ext>
              </a:extLst>
            </p:cNvPr>
            <p:cNvSpPr/>
            <p:nvPr/>
          </p:nvSpPr>
          <p:spPr>
            <a:xfrm>
              <a:off x="8408070" y="5831"/>
              <a:ext cx="3787863" cy="6841140"/>
            </a:xfrm>
            <a:custGeom>
              <a:avLst/>
              <a:gdLst>
                <a:gd name="connsiteX0" fmla="*/ 0 w 3787863"/>
                <a:gd name="connsiteY0" fmla="*/ 6841141 h 6841140"/>
                <a:gd name="connsiteX1" fmla="*/ 801633 w 3787863"/>
                <a:gd name="connsiteY1" fmla="*/ 6841141 h 6841140"/>
                <a:gd name="connsiteX2" fmla="*/ 3787864 w 3787863"/>
                <a:gd name="connsiteY2" fmla="*/ 1201988 h 6841140"/>
                <a:gd name="connsiteX3" fmla="*/ 3787737 w 3787863"/>
                <a:gd name="connsiteY3" fmla="*/ 0 h 6841140"/>
                <a:gd name="connsiteX4" fmla="*/ 3622639 w 3787863"/>
                <a:gd name="connsiteY4" fmla="*/ 0 h 6841140"/>
                <a:gd name="connsiteX5" fmla="*/ 0 w 3787863"/>
                <a:gd name="connsiteY5" fmla="*/ 6841141 h 6841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7863" h="6841140">
                  <a:moveTo>
                    <a:pt x="0" y="6841141"/>
                  </a:moveTo>
                  <a:lnTo>
                    <a:pt x="801633" y="6841141"/>
                  </a:lnTo>
                  <a:lnTo>
                    <a:pt x="3787864" y="1201988"/>
                  </a:lnTo>
                  <a:lnTo>
                    <a:pt x="3787737" y="0"/>
                  </a:lnTo>
                  <a:lnTo>
                    <a:pt x="3622639" y="0"/>
                  </a:lnTo>
                  <a:lnTo>
                    <a:pt x="0" y="684114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/>
                </a:gs>
                <a:gs pos="51000">
                  <a:srgbClr val="00297C"/>
                </a:gs>
                <a:gs pos="100000">
                  <a:schemeClr val="tx2"/>
                </a:gs>
              </a:gsLst>
              <a:lin ang="0" scaled="1"/>
              <a:tileRect/>
            </a:gra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3A86855-F61A-6148-8C5A-8F26F50FF9D8}"/>
                </a:ext>
              </a:extLst>
            </p:cNvPr>
            <p:cNvSpPr/>
            <p:nvPr/>
          </p:nvSpPr>
          <p:spPr>
            <a:xfrm>
              <a:off x="9207799" y="1204143"/>
              <a:ext cx="2988769" cy="5642828"/>
            </a:xfrm>
            <a:custGeom>
              <a:avLst/>
              <a:gdLst>
                <a:gd name="connsiteX0" fmla="*/ 2988769 w 2988769"/>
                <a:gd name="connsiteY0" fmla="*/ 5642829 h 5642828"/>
                <a:gd name="connsiteX1" fmla="*/ 2988135 w 2988769"/>
                <a:gd name="connsiteY1" fmla="*/ 0 h 5642828"/>
                <a:gd name="connsiteX2" fmla="*/ 0 w 2988769"/>
                <a:gd name="connsiteY2" fmla="*/ 5642829 h 5642828"/>
                <a:gd name="connsiteX3" fmla="*/ 2988769 w 2988769"/>
                <a:gd name="connsiteY3" fmla="*/ 5642829 h 564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769" h="5642828">
                  <a:moveTo>
                    <a:pt x="2988769" y="5642829"/>
                  </a:moveTo>
                  <a:lnTo>
                    <a:pt x="2988135" y="0"/>
                  </a:lnTo>
                  <a:lnTo>
                    <a:pt x="0" y="5642829"/>
                  </a:lnTo>
                  <a:lnTo>
                    <a:pt x="2988769" y="5642829"/>
                  </a:lnTo>
                  <a:close/>
                </a:path>
              </a:pathLst>
            </a:custGeom>
            <a:solidFill>
              <a:srgbClr val="001C71"/>
            </a:solidFill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1144588"/>
            <a:ext cx="7688263" cy="2622740"/>
          </a:xfrm>
          <a:prstGeom prst="rect">
            <a:avLst/>
          </a:prstGeom>
        </p:spPr>
        <p:txBody>
          <a:bodyPr vert="horz" rIns="0" anchor="b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4014216"/>
            <a:ext cx="6400801" cy="108012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40664A07-6D66-AA44-9EA8-241E5E8570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72080" y="6045232"/>
            <a:ext cx="1497872" cy="34718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1D70D93-F45D-964B-AD22-3E764CA87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5754052"/>
            <a:ext cx="3543301" cy="36988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3124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C56AD6-A785-F842-AF16-A21371D70C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470745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C56AD6-A785-F842-AF16-A21371D70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D43FA6C8-9047-904D-800F-CD112058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25331957-5894-4234-B0CA-FA6B0129F23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2599" y="1226666"/>
            <a:ext cx="5468939" cy="4923309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8CB12DB-C337-48B9-A38A-293C3675960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62688" y="1226666"/>
            <a:ext cx="5357812" cy="4923309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EF7C0C-E3D9-46DD-B944-80DBA39044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3A0199-D998-401E-A49F-DB2BED68B8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2435841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table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91297C-47CA-8B4D-B06A-2DE4B0146D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562178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91297C-47CA-8B4D-B06A-2DE4B014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7D9D3DBF-117B-C040-8301-B67565E3593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82600" y="1279525"/>
            <a:ext cx="11226801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8288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100349ED-FE74-DE40-94E4-8EEDB7D8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05261D-1702-46DC-A001-5D4BF57C04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95EAA4-60F0-486B-A0AE-7C50B2CB10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6474605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2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72C2C3-5678-214D-A79C-91AA2B5C04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37853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72C2C3-5678-214D-A79C-91AA2B5C0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FC8A025-C053-9F4D-A46E-85A35B0A36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600" y="1506538"/>
            <a:ext cx="2626888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DCA6BBAF-45ED-1A42-94F6-ED135B5CA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64397B5-3338-42D4-A999-5E70598878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257925" y="1506538"/>
            <a:ext cx="5461000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6E728B-AB9F-4BB0-93AE-807B0BF16B0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9560B-E235-4D57-9181-4229DE881677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8199532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3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1E8F07-1397-E84F-96B8-1F0F67159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912130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1E8F07-1397-E84F-96B8-1F0F67159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8" y="1506538"/>
            <a:ext cx="2626889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CD1FFB24-C279-7140-86E7-BB93CCB344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826C3B5-9557-EB45-A8B2-2882FD38FB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61D2B331-020E-D848-8167-C767E363B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FFC098-AD8A-4E4F-922C-51BA7D4EEC3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401" y="1506262"/>
            <a:ext cx="5451474" cy="4138888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B4E3A0-16CC-4468-9A7F-57494E34068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014F63-B825-4D95-9F38-B326C0D197C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6304131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4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8CED72-A9DA-CE4E-BA0F-E69E6914AE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60757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8CED72-A9DA-CE4E-BA0F-E69E6914A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E80AD9A-FD5B-EA44-A12B-8681778D80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599" y="1506538"/>
            <a:ext cx="261841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FC8A025-C053-9F4D-A46E-85A35B0A36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96F711A-322E-6D48-B51F-6BE3CFE5FD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600" y="3633512"/>
            <a:ext cx="2618409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E422563-3616-044B-9118-FE2FFC246F4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2724B108-42F4-3F44-A3FA-737499C39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F62F77E-3BF9-46E4-BB0A-6C0DF7A1B38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5225" y="1506538"/>
            <a:ext cx="5464175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EED3896-1B92-474B-BC30-BD74E2AB31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582AFA-9F2F-4C08-9EF6-4431F343176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457188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2_horz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2B016-C661-4548-BD5D-F50FDF2DF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66833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2B016-C661-4548-BD5D-F50FDF2D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599" y="1506538"/>
            <a:ext cx="546100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0FB96699-3013-B040-9E44-0087490053B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9" y="3633512"/>
            <a:ext cx="546100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53A8037F-5722-6C4D-A146-B8C534501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BF659F-20EB-4418-9709-CBBAE0A794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248400" y="1506538"/>
            <a:ext cx="5451475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6F206D-611F-479D-B997-4DAE9B3965C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5293EE5-9D7B-44BA-BCEF-F76E0EC0A33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4015070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3_horz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D77F6-E3CA-4B4A-A7E0-7A2661D329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7422556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D77F6-E3CA-4B4A-A7E0-7A2661D329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600" y="1506538"/>
            <a:ext cx="546100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F6611369-8EEB-C34A-B7DC-0541B5E3773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9" y="3633512"/>
            <a:ext cx="261841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7C16284-8C89-ED4B-8409-B70C235BF1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BC8860FF-9C5C-5B45-B376-98C6646CE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C35E390-1768-405B-81E5-17917042FFC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54151" y="1506538"/>
            <a:ext cx="5469537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2F32C-1E39-45F6-BE37-58E176EA52E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2997D3F-9038-4785-9BB7-6AF782F1C55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7394474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5F5964-656B-7443-B018-0888EAF09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39453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5F5964-656B-7443-B018-0888EAF09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601" y="1279525"/>
            <a:ext cx="3549652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765CB43-7D52-8840-AD2C-2C0022EB12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6468" y="1279525"/>
            <a:ext cx="3539067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CE19944-E91D-F543-B555-B14F81FBD11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0334" y="1279525"/>
            <a:ext cx="3549652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64DF37B-FB91-1F42-826A-DB6E563AE26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2599" y="6083302"/>
            <a:ext cx="8966203" cy="28577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234950" indent="-234950">
              <a:spcAft>
                <a:spcPts val="0"/>
              </a:spcAft>
              <a:buClrTx/>
              <a:buFont typeface="+mj-lt"/>
              <a:buAutoNum type="arabicPeriod"/>
              <a:tabLst/>
              <a:defRPr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11" name="Title Placeholder 3">
            <a:extLst>
              <a:ext uri="{FF2B5EF4-FFF2-40B4-BE49-F238E27FC236}">
                <a16:creationId xmlns:a16="http://schemas.microsoft.com/office/drawing/2014/main" id="{AD20262C-97C4-5340-98E7-B4F32DBD3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F4D78-D029-4B64-8874-B738D7C99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5CB9B6-B89D-4000-920E-E7DFF0D4BB6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6247114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036835-8864-4343-81F5-5D73775AD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42446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036835-8864-4343-81F5-5D73775AD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65A8AF-5E05-3E42-9261-31CB865CEE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2601" y="1279525"/>
            <a:ext cx="11226800" cy="4798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210312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2D9E4EF-3A69-034F-90D2-EE637E501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D6D5A8-5294-4098-9595-13CFDA93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C961B3-EAC7-4509-84FA-C6C535A8E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7865260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036835-8864-4343-81F5-5D73775AD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878773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036835-8864-4343-81F5-5D73775AD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2D9E4EF-3A69-034F-90D2-EE637E501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1DABA-F94D-44DC-9C82-EA592133B8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8D48B-6CE4-422C-80E3-C4D3AE8761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477951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214723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7ABE8BD-8578-B743-B157-F5CE01B2DCE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27767" y="0"/>
            <a:ext cx="7357761" cy="6853238"/>
          </a:xfrm>
          <a:custGeom>
            <a:avLst/>
            <a:gdLst>
              <a:gd name="connsiteX0" fmla="*/ 3648321 w 7357761"/>
              <a:gd name="connsiteY0" fmla="*/ 0 h 6853238"/>
              <a:gd name="connsiteX1" fmla="*/ 7192592 w 7357761"/>
              <a:gd name="connsiteY1" fmla="*/ 0 h 6853238"/>
              <a:gd name="connsiteX2" fmla="*/ 7357635 w 7357761"/>
              <a:gd name="connsiteY2" fmla="*/ 0 h 6853238"/>
              <a:gd name="connsiteX3" fmla="*/ 7357760 w 7357761"/>
              <a:gd name="connsiteY3" fmla="*/ 0 h 6853238"/>
              <a:gd name="connsiteX4" fmla="*/ 7357635 w 7357761"/>
              <a:gd name="connsiteY4" fmla="*/ 235 h 6853238"/>
              <a:gd name="connsiteX5" fmla="*/ 7357761 w 7357761"/>
              <a:gd name="connsiteY5" fmla="*/ 1204214 h 6853238"/>
              <a:gd name="connsiteX6" fmla="*/ 4372831 w 7357761"/>
              <a:gd name="connsiteY6" fmla="*/ 6853238 h 6853238"/>
              <a:gd name="connsiteX7" fmla="*/ 0 w 7357761"/>
              <a:gd name="connsiteY7" fmla="*/ 6853238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57761" h="6853238">
                <a:moveTo>
                  <a:pt x="3648321" y="0"/>
                </a:moveTo>
                <a:lnTo>
                  <a:pt x="7192592" y="0"/>
                </a:lnTo>
                <a:lnTo>
                  <a:pt x="7357635" y="0"/>
                </a:lnTo>
                <a:lnTo>
                  <a:pt x="7357760" y="0"/>
                </a:lnTo>
                <a:lnTo>
                  <a:pt x="7357635" y="235"/>
                </a:lnTo>
                <a:lnTo>
                  <a:pt x="7357761" y="1204214"/>
                </a:lnTo>
                <a:lnTo>
                  <a:pt x="4372831" y="6853238"/>
                </a:lnTo>
                <a:lnTo>
                  <a:pt x="0" y="68532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Ins="365760" anchor="ctr" anchorCtr="1">
            <a:noAutofit/>
          </a:bodyPr>
          <a:lstStyle>
            <a:lvl1pPr marL="0" marR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>
                <a:solidFill>
                  <a:srgbClr val="FF0000"/>
                </a:solidFill>
              </a:defRPr>
            </a:lvl1pPr>
          </a:lstStyle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r>
              <a:rPr lang="en-US" dirty="0"/>
              <a:t>To use this slide:</a:t>
            </a:r>
            <a:br>
              <a:rPr lang="en-US" dirty="0"/>
            </a:br>
            <a:r>
              <a:rPr lang="en-US" dirty="0"/>
              <a:t>1. Go to Slide master and send overlay to back. </a:t>
            </a:r>
            <a:br>
              <a:rPr lang="en-US" dirty="0"/>
            </a:br>
            <a:r>
              <a:rPr lang="en-US" dirty="0"/>
              <a:t>2. Close Slide master.</a:t>
            </a:r>
            <a:br>
              <a:rPr lang="en-US" dirty="0"/>
            </a:br>
            <a:r>
              <a:rPr lang="en-US" dirty="0"/>
              <a:t>3. Click on icon to insert picture. </a:t>
            </a:r>
            <a:br>
              <a:rPr lang="en-US" dirty="0"/>
            </a:br>
            <a:r>
              <a:rPr lang="en-US" dirty="0"/>
              <a:t>4. Go to Slide master and send picture </a:t>
            </a:r>
            <a:br>
              <a:rPr lang="en-US" dirty="0"/>
            </a:br>
            <a:r>
              <a:rPr lang="en-US" dirty="0"/>
              <a:t>	placeholder to back.</a:t>
            </a:r>
            <a:br>
              <a:rPr lang="en-US" dirty="0"/>
            </a:br>
            <a:r>
              <a:rPr lang="en-US" dirty="0"/>
              <a:t>6. Close Slide master.</a:t>
            </a:r>
            <a:br>
              <a:rPr lang="en-US" dirty="0"/>
            </a:b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B80CD3B-011A-484D-9C8F-7440555DE2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81691" y="6161405"/>
            <a:ext cx="1828800" cy="450335"/>
          </a:xfrm>
          <a:prstGeom prst="rect">
            <a:avLst/>
          </a:prstGeom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A66D950D-689F-B049-9A1F-088A67FFECFC}"/>
              </a:ext>
            </a:extLst>
          </p:cNvPr>
          <p:cNvSpPr/>
          <p:nvPr/>
        </p:nvSpPr>
        <p:spPr>
          <a:xfrm>
            <a:off x="9198267" y="1200530"/>
            <a:ext cx="2987896" cy="5653277"/>
          </a:xfrm>
          <a:custGeom>
            <a:avLst/>
            <a:gdLst>
              <a:gd name="connsiteX0" fmla="*/ 2987897 w 2987896"/>
              <a:gd name="connsiteY0" fmla="*/ 5653278 h 5653277"/>
              <a:gd name="connsiteX1" fmla="*/ 2987262 w 2987896"/>
              <a:gd name="connsiteY1" fmla="*/ 0 h 5653277"/>
              <a:gd name="connsiteX2" fmla="*/ 0 w 2987896"/>
              <a:gd name="connsiteY2" fmla="*/ 5653278 h 5653277"/>
              <a:gd name="connsiteX3" fmla="*/ 2987897 w 2987896"/>
              <a:gd name="connsiteY3" fmla="*/ 5653278 h 5653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7896" h="5653277">
                <a:moveTo>
                  <a:pt x="2987897" y="5653278"/>
                </a:moveTo>
                <a:lnTo>
                  <a:pt x="2987262" y="0"/>
                </a:lnTo>
                <a:lnTo>
                  <a:pt x="0" y="5653278"/>
                </a:lnTo>
                <a:lnTo>
                  <a:pt x="2987897" y="5653278"/>
                </a:lnTo>
                <a:close/>
              </a:path>
            </a:pathLst>
          </a:custGeom>
          <a:solidFill>
            <a:srgbClr val="001C71"/>
          </a:solidFill>
          <a:ln w="126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1012508"/>
            <a:ext cx="5765800" cy="2729498"/>
          </a:xfrm>
          <a:prstGeom prst="rect">
            <a:avLst/>
          </a:prstGeom>
        </p:spPr>
        <p:txBody>
          <a:bodyPr vert="horz" rIns="0" anchor="b" anchorCtr="0">
            <a:normAutofit/>
          </a:bodyPr>
          <a:lstStyle>
            <a:lvl1pPr>
              <a:lnSpc>
                <a:spcPct val="100000"/>
              </a:lnSpc>
              <a:defRPr sz="56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4009292"/>
            <a:ext cx="4821768" cy="1738221"/>
          </a:xfrm>
          <a:prstGeom prst="rect">
            <a:avLst/>
          </a:prstGeom>
        </p:spPr>
        <p:txBody>
          <a:bodyPr numCol="1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24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18821D3-68E1-D941-A9E9-201D657836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5754052"/>
            <a:ext cx="3543301" cy="36988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AFA9B5-36D3-8344-B0B7-B460BABC1E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8934" y="0"/>
            <a:ext cx="3786595" cy="6853809"/>
          </a:xfrm>
          <a:custGeom>
            <a:avLst/>
            <a:gdLst>
              <a:gd name="connsiteX0" fmla="*/ 3621428 w 3786595"/>
              <a:gd name="connsiteY0" fmla="*/ 0 h 6853809"/>
              <a:gd name="connsiteX1" fmla="*/ 3786471 w 3786595"/>
              <a:gd name="connsiteY1" fmla="*/ 0 h 6853809"/>
              <a:gd name="connsiteX2" fmla="*/ 3786595 w 3786595"/>
              <a:gd name="connsiteY2" fmla="*/ 1185443 h 6853809"/>
              <a:gd name="connsiteX3" fmla="*/ 3786595 w 3786595"/>
              <a:gd name="connsiteY3" fmla="*/ 1204218 h 6853809"/>
              <a:gd name="connsiteX4" fmla="*/ 801365 w 3786595"/>
              <a:gd name="connsiteY4" fmla="*/ 6853809 h 6853809"/>
              <a:gd name="connsiteX5" fmla="*/ 87913 w 3786595"/>
              <a:gd name="connsiteY5" fmla="*/ 6853809 h 6853809"/>
              <a:gd name="connsiteX6" fmla="*/ 0 w 3786595"/>
              <a:gd name="connsiteY6" fmla="*/ 6853682 h 685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6595" h="6853809">
                <a:moveTo>
                  <a:pt x="3621428" y="0"/>
                </a:moveTo>
                <a:lnTo>
                  <a:pt x="3786471" y="0"/>
                </a:lnTo>
                <a:lnTo>
                  <a:pt x="3786595" y="1185443"/>
                </a:lnTo>
                <a:lnTo>
                  <a:pt x="3786595" y="1204218"/>
                </a:lnTo>
                <a:lnTo>
                  <a:pt x="801365" y="6853809"/>
                </a:lnTo>
                <a:lnTo>
                  <a:pt x="87913" y="6853809"/>
                </a:lnTo>
                <a:lnTo>
                  <a:pt x="0" y="6853682"/>
                </a:lnTo>
                <a:close/>
              </a:path>
            </a:pathLst>
          </a:custGeom>
          <a:gradFill>
            <a:gsLst>
              <a:gs pos="0">
                <a:schemeClr val="bg2">
                  <a:alpha val="90000"/>
                </a:schemeClr>
              </a:gs>
              <a:gs pos="72000">
                <a:schemeClr val="tx2">
                  <a:alpha val="90000"/>
                </a:schemeClr>
              </a:gs>
            </a:gsLst>
            <a:lin ang="0" scaled="1"/>
          </a:gradFill>
        </p:spPr>
        <p:txBody>
          <a:bodyPr vert="vert270" wrap="square" lIns="457200" tIns="0" rIns="0" bIns="0" rtlCol="0" anchor="t" anchorCtr="0">
            <a:noAutofit/>
          </a:bodyPr>
          <a:lstStyle>
            <a:lvl1pPr>
              <a:defRPr lang="en-US" sz="800" dirty="0" smtClean="0">
                <a:solidFill>
                  <a:srgbClr val="66C3E9"/>
                </a:solidFill>
              </a:defRPr>
            </a:lvl1pPr>
          </a:lstStyle>
          <a:p>
            <a:pPr lvl="0"/>
            <a:r>
              <a:rPr lang="en-US" dirty="0"/>
              <a:t>OVERLAY</a:t>
            </a:r>
          </a:p>
        </p:txBody>
      </p:sp>
      <p:pic>
        <p:nvPicPr>
          <p:cNvPr id="12" name="Graphic 25">
            <a:extLst>
              <a:ext uri="{FF2B5EF4-FFF2-40B4-BE49-F238E27FC236}">
                <a16:creationId xmlns:a16="http://schemas.microsoft.com/office/drawing/2014/main" id="{8BDF52B1-9EB9-E64C-B867-0E943E8855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72080" y="6045232"/>
            <a:ext cx="1497872" cy="347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741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no blue sentenc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8215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6E9E4A80-3BA3-124D-9B24-F7CF47D2D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7" y="457201"/>
            <a:ext cx="1121664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9D7253-F336-40C3-B8DB-BC4E7A515F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7416" y="1100531"/>
            <a:ext cx="11211984" cy="4617720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73E8450-28A8-A6F0-3571-A948467527A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2599" y="6083302"/>
            <a:ext cx="97536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8085708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266631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8576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576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CCD93E8-DC2B-2D48-BE54-9F88E3064E58}"/>
              </a:ext>
            </a:extLst>
          </p:cNvPr>
          <p:cNvSpPr/>
          <p:nvPr/>
        </p:nvSpPr>
        <p:spPr>
          <a:xfrm>
            <a:off x="0" y="380"/>
            <a:ext cx="5239314" cy="6857619"/>
          </a:xfrm>
          <a:custGeom>
            <a:avLst/>
            <a:gdLst>
              <a:gd name="connsiteX0" fmla="*/ 1617403 w 5239314"/>
              <a:gd name="connsiteY0" fmla="*/ 6857619 h 6857619"/>
              <a:gd name="connsiteX1" fmla="*/ 0 w 5239314"/>
              <a:gd name="connsiteY1" fmla="*/ 6857619 h 6857619"/>
              <a:gd name="connsiteX2" fmla="*/ 0 w 5239314"/>
              <a:gd name="connsiteY2" fmla="*/ 0 h 6857619"/>
              <a:gd name="connsiteX3" fmla="*/ 5239314 w 5239314"/>
              <a:gd name="connsiteY3" fmla="*/ 0 h 6857619"/>
              <a:gd name="connsiteX4" fmla="*/ 1617403 w 5239314"/>
              <a:gd name="connsiteY4" fmla="*/ 6857619 h 685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9314" h="6857619">
                <a:moveTo>
                  <a:pt x="1617403" y="6857619"/>
                </a:moveTo>
                <a:lnTo>
                  <a:pt x="0" y="6857619"/>
                </a:lnTo>
                <a:lnTo>
                  <a:pt x="0" y="0"/>
                </a:lnTo>
                <a:lnTo>
                  <a:pt x="5239314" y="0"/>
                </a:lnTo>
                <a:lnTo>
                  <a:pt x="1617403" y="6857619"/>
                </a:lnTo>
                <a:close/>
              </a:path>
            </a:pathLst>
          </a:custGeom>
          <a:solidFill>
            <a:srgbClr val="009BDA"/>
          </a:solidFill>
          <a:ln w="126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E0B399C-A9E8-AE40-91CB-2EE1E55E4660}"/>
              </a:ext>
            </a:extLst>
          </p:cNvPr>
          <p:cNvSpPr/>
          <p:nvPr/>
        </p:nvSpPr>
        <p:spPr>
          <a:xfrm>
            <a:off x="805404" y="0"/>
            <a:ext cx="4438981" cy="6858000"/>
          </a:xfrm>
          <a:custGeom>
            <a:avLst/>
            <a:gdLst>
              <a:gd name="connsiteX0" fmla="*/ 817070 w 4438981"/>
              <a:gd name="connsiteY0" fmla="*/ 6858000 h 6858000"/>
              <a:gd name="connsiteX1" fmla="*/ 0 w 4438981"/>
              <a:gd name="connsiteY1" fmla="*/ 6858000 h 6858000"/>
              <a:gd name="connsiteX2" fmla="*/ 3621912 w 4438981"/>
              <a:gd name="connsiteY2" fmla="*/ 0 h 6858000"/>
              <a:gd name="connsiteX3" fmla="*/ 4438981 w 4438981"/>
              <a:gd name="connsiteY3" fmla="*/ 0 h 6858000"/>
              <a:gd name="connsiteX4" fmla="*/ 817070 w 443898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8981" h="6858000">
                <a:moveTo>
                  <a:pt x="817070" y="6858000"/>
                </a:moveTo>
                <a:lnTo>
                  <a:pt x="0" y="6858000"/>
                </a:lnTo>
                <a:lnTo>
                  <a:pt x="3621912" y="0"/>
                </a:lnTo>
                <a:lnTo>
                  <a:pt x="4438981" y="0"/>
                </a:lnTo>
                <a:lnTo>
                  <a:pt x="817070" y="6858000"/>
                </a:lnTo>
                <a:close/>
              </a:path>
            </a:pathLst>
          </a:custGeom>
          <a:gradFill>
            <a:gsLst>
              <a:gs pos="32000">
                <a:schemeClr val="tx2"/>
              </a:gs>
              <a:gs pos="100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44088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48946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8576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576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C71BE15A-99F7-524D-A72D-D6A70C75E83F}"/>
              </a:ext>
            </a:extLst>
          </p:cNvPr>
          <p:cNvSpPr/>
          <p:nvPr/>
        </p:nvSpPr>
        <p:spPr>
          <a:xfrm>
            <a:off x="0" y="380"/>
            <a:ext cx="5239316" cy="6857619"/>
          </a:xfrm>
          <a:custGeom>
            <a:avLst/>
            <a:gdLst>
              <a:gd name="connsiteX0" fmla="*/ 1617403 w 5239316"/>
              <a:gd name="connsiteY0" fmla="*/ 6857619 h 6857619"/>
              <a:gd name="connsiteX1" fmla="*/ 0 w 5239316"/>
              <a:gd name="connsiteY1" fmla="*/ 6857619 h 6857619"/>
              <a:gd name="connsiteX2" fmla="*/ 0 w 5239316"/>
              <a:gd name="connsiteY2" fmla="*/ 0 h 6857619"/>
              <a:gd name="connsiteX3" fmla="*/ 5239316 w 5239316"/>
              <a:gd name="connsiteY3" fmla="*/ 0 h 6857619"/>
              <a:gd name="connsiteX4" fmla="*/ 1617403 w 5239316"/>
              <a:gd name="connsiteY4" fmla="*/ 6857619 h 685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9316" h="6857619">
                <a:moveTo>
                  <a:pt x="1617403" y="6857619"/>
                </a:moveTo>
                <a:lnTo>
                  <a:pt x="0" y="6857619"/>
                </a:lnTo>
                <a:lnTo>
                  <a:pt x="0" y="0"/>
                </a:lnTo>
                <a:lnTo>
                  <a:pt x="5239316" y="0"/>
                </a:lnTo>
                <a:lnTo>
                  <a:pt x="1617403" y="6857619"/>
                </a:lnTo>
                <a:close/>
              </a:path>
            </a:pathLst>
          </a:custGeom>
          <a:solidFill>
            <a:srgbClr val="001C71"/>
          </a:solidFill>
          <a:ln w="126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115D263-1E12-794F-B6EB-C71032DDD11A}"/>
              </a:ext>
            </a:extLst>
          </p:cNvPr>
          <p:cNvSpPr/>
          <p:nvPr/>
        </p:nvSpPr>
        <p:spPr>
          <a:xfrm>
            <a:off x="805404" y="0"/>
            <a:ext cx="4438982" cy="6858000"/>
          </a:xfrm>
          <a:custGeom>
            <a:avLst/>
            <a:gdLst>
              <a:gd name="connsiteX0" fmla="*/ 817070 w 4438982"/>
              <a:gd name="connsiteY0" fmla="*/ 6858000 h 6858000"/>
              <a:gd name="connsiteX1" fmla="*/ 0 w 4438982"/>
              <a:gd name="connsiteY1" fmla="*/ 6858000 h 6858000"/>
              <a:gd name="connsiteX2" fmla="*/ 3621913 w 4438982"/>
              <a:gd name="connsiteY2" fmla="*/ 0 h 6858000"/>
              <a:gd name="connsiteX3" fmla="*/ 4438983 w 4438982"/>
              <a:gd name="connsiteY3" fmla="*/ 0 h 6858000"/>
              <a:gd name="connsiteX4" fmla="*/ 817070 w 443898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8982" h="6858000">
                <a:moveTo>
                  <a:pt x="817070" y="6858000"/>
                </a:moveTo>
                <a:lnTo>
                  <a:pt x="0" y="6858000"/>
                </a:lnTo>
                <a:lnTo>
                  <a:pt x="3621913" y="0"/>
                </a:lnTo>
                <a:lnTo>
                  <a:pt x="4438983" y="0"/>
                </a:lnTo>
                <a:lnTo>
                  <a:pt x="81707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72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1331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486669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4373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4373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3AB68B5-57E6-9D42-8719-48E45ED571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251719" cy="6858000"/>
          </a:xfrm>
          <a:custGeom>
            <a:avLst/>
            <a:gdLst>
              <a:gd name="connsiteX0" fmla="*/ 0 w 5251719"/>
              <a:gd name="connsiteY0" fmla="*/ 0 h 6858000"/>
              <a:gd name="connsiteX1" fmla="*/ 5251719 w 5251719"/>
              <a:gd name="connsiteY1" fmla="*/ 0 h 6858000"/>
              <a:gd name="connsiteX2" fmla="*/ 1628775 w 5251719"/>
              <a:gd name="connsiteY2" fmla="*/ 6858000 h 6858000"/>
              <a:gd name="connsiteX3" fmla="*/ 0 w 525171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1719" h="6858000">
                <a:moveTo>
                  <a:pt x="0" y="0"/>
                </a:moveTo>
                <a:lnTo>
                  <a:pt x="5251719" y="0"/>
                </a:lnTo>
                <a:lnTo>
                  <a:pt x="16287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285750" marR="0" indent="-28575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AutoNum type="arabicPeriod"/>
              <a:tabLst/>
              <a:defRPr lang="en-US" sz="1200">
                <a:solidFill>
                  <a:srgbClr val="FF0000"/>
                </a:solidFill>
              </a:defRPr>
            </a:lvl1pPr>
          </a:lstStyle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r>
              <a:rPr lang="en-US" dirty="0"/>
              <a:t>To use this slide:</a:t>
            </a:r>
            <a:br>
              <a:rPr lang="en-US" dirty="0"/>
            </a:br>
            <a:r>
              <a:rPr lang="en-US" dirty="0"/>
              <a:t>1. Go to Slide master and send overlay to back. </a:t>
            </a:r>
            <a:br>
              <a:rPr lang="en-US" dirty="0"/>
            </a:br>
            <a:r>
              <a:rPr lang="en-US" dirty="0"/>
              <a:t>2. Close Slide master.</a:t>
            </a:r>
            <a:br>
              <a:rPr lang="en-US" dirty="0"/>
            </a:br>
            <a:r>
              <a:rPr lang="en-US" dirty="0"/>
              <a:t>3. Click on icon to insert picture. </a:t>
            </a:r>
            <a:br>
              <a:rPr lang="en-US" dirty="0"/>
            </a:br>
            <a:r>
              <a:rPr lang="en-US" dirty="0"/>
              <a:t>4. Go to Slide master and send picture placeholder to back.</a:t>
            </a:r>
            <a:br>
              <a:rPr lang="en-US" dirty="0"/>
            </a:br>
            <a:r>
              <a:rPr lang="en-US" dirty="0"/>
              <a:t>6. Close Slide mas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lvl="0">
              <a:lnSpc>
                <a:spcPct val="100000"/>
              </a:lnSpc>
            </a:pP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BF77CF3-11B7-C142-B812-0FBC902542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104" y="0"/>
            <a:ext cx="4421373" cy="6858000"/>
          </a:xfrm>
          <a:custGeom>
            <a:avLst/>
            <a:gdLst>
              <a:gd name="connsiteX0" fmla="*/ 3617360 w 4421373"/>
              <a:gd name="connsiteY0" fmla="*/ 0 h 6858000"/>
              <a:gd name="connsiteX1" fmla="*/ 4421373 w 4421373"/>
              <a:gd name="connsiteY1" fmla="*/ 0 h 6858000"/>
              <a:gd name="connsiteX2" fmla="*/ 804013 w 4421373"/>
              <a:gd name="connsiteY2" fmla="*/ 6858000 h 6858000"/>
              <a:gd name="connsiteX3" fmla="*/ 0 w 44213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1373" h="6858000">
                <a:moveTo>
                  <a:pt x="3617360" y="0"/>
                </a:moveTo>
                <a:lnTo>
                  <a:pt x="4421373" y="0"/>
                </a:lnTo>
                <a:lnTo>
                  <a:pt x="80401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50000">
                <a:schemeClr val="bg2"/>
              </a:gs>
              <a:gs pos="100000">
                <a:schemeClr val="bg2">
                  <a:alpha val="35000"/>
                </a:schemeClr>
              </a:gs>
            </a:gsLst>
            <a:lin ang="0" scaled="1"/>
          </a:gradFill>
        </p:spPr>
        <p:txBody>
          <a:bodyPr vert="vert270" wrap="square" lIns="274320" tIns="0" rIns="0" bIns="0" rtlCol="0" anchor="t">
            <a:noAutofit/>
          </a:bodyPr>
          <a:lstStyle>
            <a:lvl1pPr>
              <a:defRPr lang="en-US" sz="800" dirty="0" smtClean="0">
                <a:solidFill>
                  <a:srgbClr val="99D7F0"/>
                </a:solidFill>
              </a:defRPr>
            </a:lvl1pPr>
          </a:lstStyle>
          <a:p>
            <a:pPr lvl="0"/>
            <a:r>
              <a:rPr lang="en-US" dirty="0"/>
              <a:t>OVERLAY</a:t>
            </a:r>
          </a:p>
        </p:txBody>
      </p:sp>
    </p:spTree>
    <p:extLst>
      <p:ext uri="{BB962C8B-B14F-4D97-AF65-F5344CB8AC3E}">
        <p14:creationId xmlns:p14="http://schemas.microsoft.com/office/powerpoint/2010/main" val="30198625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1437E-F5BA-D941-A988-D166FC8336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6344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1437E-F5BA-D941-A988-D166FC833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4CCDAC1-FF0C-6C45-9EFE-16B81E076C06}"/>
              </a:ext>
            </a:extLst>
          </p:cNvPr>
          <p:cNvSpPr txBox="1"/>
          <p:nvPr/>
        </p:nvSpPr>
        <p:spPr>
          <a:xfrm>
            <a:off x="11043961" y="249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4F861AD-B738-204D-962D-1D7949B97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250826"/>
            <a:ext cx="3254174" cy="3423913"/>
          </a:xfrm>
          <a:prstGeom prst="rect">
            <a:avLst/>
          </a:prstGeom>
        </p:spPr>
        <p:txBody>
          <a:bodyPr vert="horz" rIns="0" anchor="t"/>
          <a:lstStyle>
            <a:lvl1pPr>
              <a:defRPr/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toc / agend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53D3EA5-6074-47D1-886B-4CFE1404AA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17988" y="250825"/>
            <a:ext cx="7367587" cy="5727700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6A16296-949D-4DB3-99E9-5BFC747696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3DDCF2-ABCA-4BF3-9765-CF3D589819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797868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29384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7D1FE246-A8E2-F94F-9529-1C9A6AEA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486E0DA-68C8-4D78-BD7D-FACB9BAD3F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82601" y="1181819"/>
            <a:ext cx="10983338" cy="5004772"/>
          </a:xfrm>
          <a:prstGeom prst="rect">
            <a:avLst/>
          </a:prstGeom>
        </p:spPr>
        <p:txBody>
          <a:bodyPr/>
          <a:lstStyle>
            <a:lvl2pPr marL="457200" indent="-22860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ivel</a:t>
            </a:r>
            <a:endParaRPr lang="en-US" dirty="0"/>
          </a:p>
          <a:p>
            <a:pPr lvl="2"/>
            <a:r>
              <a:rPr lang="en-US" dirty="0" err="1"/>
              <a:t>Tercer</a:t>
            </a:r>
            <a:r>
              <a:rPr lang="en-US" dirty="0"/>
              <a:t> </a:t>
            </a:r>
            <a:r>
              <a:rPr lang="en-US" dirty="0" err="1"/>
              <a:t>nivel</a:t>
            </a:r>
            <a:endParaRPr lang="en-US" dirty="0"/>
          </a:p>
          <a:p>
            <a:pPr lvl="3"/>
            <a:r>
              <a:rPr lang="en-US" dirty="0"/>
              <a:t>Cuarto </a:t>
            </a:r>
            <a:r>
              <a:rPr lang="en-US" dirty="0" err="1"/>
              <a:t>ni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i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74E80A-265F-42A1-A8BD-2F59D41DF4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351C49-ADF0-466B-85F4-700AC8250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368298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1col_kic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112881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7D1FE246-A8E2-F94F-9529-1C9A6AEA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08AA04-99B7-2849-96B7-4BEA00359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599" y="5484687"/>
            <a:ext cx="11216637" cy="86069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s-ES" sz="1600" dirty="0"/>
              <a:t>Ejemplo de texto de impulso que puede extenderse a dos líneas si es necesario</a:t>
            </a:r>
            <a:endParaRPr lang="en-US" sz="1600" b="1" dirty="0">
              <a:solidFill>
                <a:schemeClr val="accent2"/>
              </a:solidFill>
              <a:cs typeface="Calibri Light" panose="020F030202020403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F09BC25-4F6B-4243-81B5-FEE398B09FA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2600" y="1181820"/>
            <a:ext cx="11217275" cy="4114800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C7166B4-E617-4DEE-A099-5A9B3374AB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524DDC-4525-491E-A702-D2E9CA6DBA5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1145844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EBCF7-93E3-0040-BBFD-DE1EC25C6B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96194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EBCF7-93E3-0040-BBFD-DE1EC25C6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3">
            <a:extLst>
              <a:ext uri="{FF2B5EF4-FFF2-40B4-BE49-F238E27FC236}">
                <a16:creationId xmlns:a16="http://schemas.microsoft.com/office/drawing/2014/main" id="{18A38DD3-32B1-0749-AF60-DAA0FE654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BC18F9-0179-47D8-BA04-BCAAEC1530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C2737A-8B8F-49F1-90F4-420E0AF3EC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0912189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5DB756DF-74FC-624D-A171-D9BE9D35151E}"/>
              </a:ext>
            </a:extLst>
          </p:cNvPr>
          <p:cNvSpPr/>
          <p:nvPr/>
        </p:nvSpPr>
        <p:spPr bwMode="auto">
          <a:xfrm rot="5400000">
            <a:off x="-419100" y="419100"/>
            <a:ext cx="1783080" cy="944880"/>
          </a:xfrm>
          <a:prstGeom prst="rtTriangle">
            <a:avLst/>
          </a:prstGeom>
          <a:gradFill>
            <a:gsLst>
              <a:gs pos="0">
                <a:srgbClr val="FAFDFD"/>
              </a:gs>
              <a:gs pos="90000">
                <a:srgbClr val="E4F1FA"/>
              </a:gs>
            </a:gsLst>
            <a:lin ang="5400000" scaled="1"/>
          </a:gradFill>
          <a:ln>
            <a:noFill/>
          </a:ln>
        </p:spPr>
        <p:txBody>
          <a:bodyPr wrap="none" lIns="82058" tIns="41029" rIns="82058" bIns="41029" rtlCol="0" anchor="ctr"/>
          <a:lstStyle/>
          <a:p>
            <a:pPr algn="ctr" defTabSz="914382"/>
            <a:endParaRPr lang="en-US" sz="1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049AC0-7554-9E4A-B393-600D29FC20DC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46907428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049AC0-7554-9E4A-B393-600D29FC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6B02B9A5-D473-514E-9896-CA6DFC648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457200"/>
            <a:ext cx="7640956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163C91-CB83-4668-B448-C60379628F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2600" y="6547093"/>
            <a:ext cx="4114800" cy="17879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900" smtClean="0"/>
            </a:lvl1pPr>
          </a:lstStyle>
          <a:p>
            <a:endParaRPr lang="es-MX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1A777-C433-4B09-8695-FD14A6A8F3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31084" y="6543011"/>
            <a:ext cx="822960" cy="1828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E5004-3307-4A96-8AB7-A960A001E7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00" y="1190445"/>
            <a:ext cx="11119928" cy="48825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7BABB51-04B0-484C-91B6-9F00F57F5035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508413" y="6350634"/>
            <a:ext cx="1089551" cy="252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17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5" r:id="rId20"/>
  </p:sldLayoutIdLst>
  <p:transition/>
  <p:txStyles>
    <p:titleStyle>
      <a:lvl1pPr algn="l" defTabSz="457155" rtl="0" eaLnBrk="1" latinLnBrk="0" hangingPunct="1">
        <a:lnSpc>
          <a:spcPct val="100000"/>
        </a:lnSpc>
        <a:spcBef>
          <a:spcPct val="0"/>
        </a:spcBef>
        <a:buNone/>
        <a:defRPr sz="3000" b="0" i="0" kern="1200" cap="all" baseline="0">
          <a:solidFill>
            <a:schemeClr val="tx2"/>
          </a:solidFill>
          <a:latin typeface="+mj-lt"/>
          <a:ea typeface="+mj-ea"/>
          <a:cs typeface="Calibri Light"/>
        </a:defRPr>
      </a:lvl1pPr>
    </p:titleStyle>
    <p:bodyStyle>
      <a:lvl1pPr marL="228600" indent="-231775" algn="l" defTabSz="457155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Char char="−"/>
        <a:tabLst/>
        <a:defRPr sz="1800" b="0" i="0" kern="1200">
          <a:solidFill>
            <a:schemeClr val="tx1"/>
          </a:solidFill>
          <a:latin typeface="+mn-lt"/>
          <a:ea typeface="+mn-ea"/>
          <a:cs typeface="Calibri Light"/>
        </a:defRPr>
      </a:lvl2pPr>
      <a:lvl3pPr marL="6858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498429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−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430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Font typeface="Arial" panose="020B0604020202020204" pitchFamily="34" charset="0"/>
        <a:buChar char="•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1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2.xml"/><Relationship Id="rId6" Type="http://schemas.openxmlformats.org/officeDocument/2006/relationships/image" Target="../media/image24.png"/><Relationship Id="rId5" Type="http://schemas.openxmlformats.org/officeDocument/2006/relationships/hyperlink" Target="mailto:seguridad_corporativa@sempraglobal.com.mx" TargetMode="External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FE75C-A767-C910-E92D-2D8621B8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79" y="1399615"/>
            <a:ext cx="8243111" cy="1417320"/>
          </a:xfrm>
        </p:spPr>
        <p:txBody>
          <a:bodyPr/>
          <a:lstStyle/>
          <a:p>
            <a:r>
              <a:rPr lang="es-MX" sz="4400" b="1" dirty="0">
                <a:solidFill>
                  <a:srgbClr val="001C71"/>
                </a:solidFill>
                <a:cs typeface="Arial" panose="020B0604020202020204" pitchFamily="34" charset="0"/>
              </a:rPr>
              <a:t>Recomendaciones </a:t>
            </a:r>
            <a:br>
              <a:rPr lang="es-MX" sz="4400" b="1" dirty="0">
                <a:solidFill>
                  <a:srgbClr val="001C71"/>
                </a:solidFill>
                <a:cs typeface="Arial" panose="020B0604020202020204" pitchFamily="34" charset="0"/>
              </a:rPr>
            </a:br>
            <a:r>
              <a:rPr lang="es-MX" sz="4400" b="1" dirty="0">
                <a:solidFill>
                  <a:srgbClr val="001C71"/>
                </a:solidFill>
                <a:cs typeface="Arial" panose="020B0604020202020204" pitchFamily="34" charset="0"/>
              </a:rPr>
              <a:t>de Seguridad PATRIMONIAL Y PROTECCIÓN</a:t>
            </a:r>
            <a:endParaRPr lang="es-MX" sz="4400" dirty="0">
              <a:solidFill>
                <a:srgbClr val="001C7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95CBB9-9B20-9320-6100-E4179A7EAD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2600" y="3429000"/>
            <a:ext cx="6400801" cy="694944"/>
          </a:xfrm>
        </p:spPr>
        <p:txBody>
          <a:bodyPr/>
          <a:lstStyle/>
          <a:p>
            <a:r>
              <a:rPr lang="es-MX" sz="4000" dirty="0">
                <a:latin typeface="+mj-lt"/>
              </a:rPr>
              <a:t>Balacer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B73932-4FBB-5A77-7406-B67AAF3F5A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Septiembre 2023</a:t>
            </a:r>
          </a:p>
        </p:txBody>
      </p:sp>
    </p:spTree>
    <p:extLst>
      <p:ext uri="{BB962C8B-B14F-4D97-AF65-F5344CB8AC3E}">
        <p14:creationId xmlns:p14="http://schemas.microsoft.com/office/powerpoint/2010/main" val="104185550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3DD72-777F-06DA-2F85-18480CB59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600" b="1" cap="none" dirty="0">
                <a:solidFill>
                  <a:srgbClr val="001C71"/>
                </a:solidFill>
                <a:cs typeface="Arial" panose="020B0604020202020204" pitchFamily="34" charset="0"/>
              </a:rPr>
              <a:t>Balaceras</a:t>
            </a:r>
            <a:endParaRPr lang="es-MX" sz="3600" cap="none" dirty="0">
              <a:solidFill>
                <a:srgbClr val="001C71"/>
              </a:solidFill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32081B0-0D6F-F50C-65B6-2C63B7FFF08E}"/>
              </a:ext>
            </a:extLst>
          </p:cNvPr>
          <p:cNvSpPr txBox="1">
            <a:spLocks/>
          </p:cNvSpPr>
          <p:nvPr/>
        </p:nvSpPr>
        <p:spPr>
          <a:xfrm>
            <a:off x="482599" y="1917298"/>
            <a:ext cx="5461001" cy="34159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l">
              <a:lnSpc>
                <a:spcPct val="120000"/>
              </a:lnSpc>
            </a:pPr>
            <a:r>
              <a:rPr lang="es-ES" dirty="0">
                <a:latin typeface="+mj-lt"/>
                <a:cs typeface="Arial" panose="020B0604020202020204" pitchFamily="34" charset="0"/>
              </a:rPr>
              <a:t>Las balaceras pueden suscitarse entre:</a:t>
            </a:r>
          </a:p>
          <a:p>
            <a:pPr marL="457200" lvl="2" algn="l">
              <a:lnSpc>
                <a:spcPct val="120000"/>
              </a:lnSpc>
            </a:pPr>
            <a:endParaRPr lang="es-ES" sz="2000" dirty="0">
              <a:latin typeface="+mj-lt"/>
              <a:cs typeface="Arial" panose="020B0604020202020204" pitchFamily="34" charset="0"/>
            </a:endParaRP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delincuentes de grupos rivales; </a:t>
            </a: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delincuentes y corporaciones policiales;</a:t>
            </a: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delincuentes y Fuerzas militares;</a:t>
            </a: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delincuentes y autodefensas;</a:t>
            </a: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autodefensas  y civiles;</a:t>
            </a:r>
          </a:p>
          <a:p>
            <a:pPr marL="1257300" lvl="3" indent="-34290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delincuentes y civiles.</a:t>
            </a:r>
            <a:endParaRPr lang="es-MX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028" name="Picture 4" descr="Vector gratuito silueta de soldado de diseño plano">
            <a:extLst>
              <a:ext uri="{FF2B5EF4-FFF2-40B4-BE49-F238E27FC236}">
                <a16:creationId xmlns:a16="http://schemas.microsoft.com/office/drawing/2014/main" id="{3ED52181-142D-7F18-2411-F0F1F04D76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901" b="90096" l="13898" r="57029">
                        <a14:foregroundMark x1="27476" y1="39137" x2="27476" y2="39137"/>
                        <a14:foregroundMark x1="18530" y1="88179" x2="18530" y2="88179"/>
                        <a14:foregroundMark x1="36422" y1="88019" x2="36422" y2="88019"/>
                        <a14:foregroundMark x1="17412" y1="90096" x2="17412" y2="90096"/>
                        <a14:foregroundMark x1="54792" y1="46326" x2="54792" y2="46326"/>
                        <a14:foregroundMark x1="27796" y1="36901" x2="27796" y2="36901"/>
                        <a14:foregroundMark x1="57029" y1="46006" x2="57029" y2="460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41" t="35073" r="40484" b="7638"/>
          <a:stretch/>
        </p:blipFill>
        <p:spPr bwMode="auto">
          <a:xfrm>
            <a:off x="7049852" y="1487546"/>
            <a:ext cx="3774332" cy="4275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2090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677F3-DF04-E7A9-88AB-A92C3C6D0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485" y="457200"/>
            <a:ext cx="10930751" cy="536553"/>
          </a:xfrm>
        </p:spPr>
        <p:txBody>
          <a:bodyPr/>
          <a:lstStyle/>
          <a:p>
            <a:r>
              <a:rPr lang="es-MX" sz="2800" b="1" cap="none" dirty="0">
                <a:solidFill>
                  <a:srgbClr val="001C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é hacer ante balaceras?</a:t>
            </a:r>
            <a:endParaRPr lang="es-MX" cap="none" dirty="0">
              <a:solidFill>
                <a:srgbClr val="001C71"/>
              </a:solidFill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A6A84B0-B867-3C42-E21F-7F5C6E5A635D}"/>
              </a:ext>
            </a:extLst>
          </p:cNvPr>
          <p:cNvSpPr txBox="1">
            <a:spLocks/>
          </p:cNvSpPr>
          <p:nvPr/>
        </p:nvSpPr>
        <p:spPr>
          <a:xfrm>
            <a:off x="288547" y="1176837"/>
            <a:ext cx="8050976" cy="5223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algn="just">
              <a:lnSpc>
                <a:spcPct val="120000"/>
              </a:lnSpc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Si la autoridad pide que evacue el lugar, siga las instrucciones y sin detenerse por cosas personales;</a:t>
            </a:r>
          </a:p>
          <a:p>
            <a:pPr marL="457200" lvl="2" algn="just">
              <a:lnSpc>
                <a:spcPct val="120000"/>
              </a:lnSpc>
            </a:pPr>
            <a:endParaRPr lang="es-ES" sz="2500" b="1" dirty="0">
              <a:latin typeface="+mj-lt"/>
              <a:cs typeface="Arial" panose="020B0604020202020204" pitchFamily="34" charset="0"/>
            </a:endParaRPr>
          </a:p>
          <a:p>
            <a:pPr marL="457200" lvl="2" algn="just">
              <a:lnSpc>
                <a:spcPct val="120000"/>
              </a:lnSpc>
            </a:pPr>
            <a:r>
              <a:rPr lang="es-ES" sz="2500" b="1" dirty="0">
                <a:latin typeface="+mj-lt"/>
                <a:cs typeface="Arial" panose="020B0604020202020204" pitchFamily="34" charset="0"/>
              </a:rPr>
              <a:t>En caso de estar en un lugar abierto: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Tirarse al suelo, buscar refugio contra una pared o en un vehículo y colocarse pecho tierra con los brazos cubriendo la cabeza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s-ES" sz="2500" dirty="0">
              <a:latin typeface="+mj-lt"/>
              <a:cs typeface="Arial" panose="020B0604020202020204" pitchFamily="34" charset="0"/>
            </a:endParaRPr>
          </a:p>
          <a:p>
            <a:pPr marL="457200" lvl="2" algn="just">
              <a:lnSpc>
                <a:spcPct val="120000"/>
              </a:lnSpc>
            </a:pPr>
            <a:r>
              <a:rPr lang="es-ES" sz="2500" b="1" dirty="0">
                <a:latin typeface="+mj-lt"/>
                <a:cs typeface="Arial" panose="020B0604020202020204" pitchFamily="34" charset="0"/>
              </a:rPr>
              <a:t>En caso de estar en un lugar cerrado: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Ubique las salidas de emergencia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Use el teléfono para solicitar ayuda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Evite grabar los hechos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Evite exponerse saliendo a techos y azoteas, ni mirando por las ventanas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Los mejores lugares para resguardarse son aquellos sin ventanas, como los baños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Mantenga a la vista a menores de edad, ancianos y personas que requieran asistencia;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s-ES" sz="2500" dirty="0">
              <a:latin typeface="+mj-lt"/>
              <a:cs typeface="Arial" panose="020B0604020202020204" pitchFamily="34" charset="0"/>
            </a:endParaRPr>
          </a:p>
          <a:p>
            <a:pPr marL="457200" lvl="2" algn="just">
              <a:lnSpc>
                <a:spcPct val="120000"/>
              </a:lnSpc>
            </a:pPr>
            <a:r>
              <a:rPr lang="es-ES" sz="2500" b="1" dirty="0">
                <a:latin typeface="+mj-lt"/>
                <a:cs typeface="Arial" panose="020B0604020202020204" pitchFamily="34" charset="0"/>
              </a:rPr>
              <a:t>En caso de estar en el interior de un vehículo: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2500" dirty="0">
                <a:latin typeface="+mj-lt"/>
                <a:cs typeface="Arial" panose="020B0604020202020204" pitchFamily="34" charset="0"/>
              </a:rPr>
              <a:t>Arrojarse al piso de la unidad o agacharse lo más que se pueda;</a:t>
            </a:r>
          </a:p>
          <a:p>
            <a:pPr marL="457200" lvl="2" algn="just">
              <a:lnSpc>
                <a:spcPct val="120000"/>
              </a:lnSpc>
            </a:pPr>
            <a:endParaRPr lang="es-ES" sz="2500" dirty="0">
              <a:latin typeface="+mj-lt"/>
              <a:cs typeface="Arial" panose="020B0604020202020204" pitchFamily="34" charset="0"/>
            </a:endParaRPr>
          </a:p>
          <a:p>
            <a:pPr marL="457200" lvl="2">
              <a:lnSpc>
                <a:spcPct val="120000"/>
              </a:lnSpc>
            </a:pPr>
            <a:r>
              <a:rPr lang="es-ES" sz="2500" b="1" dirty="0">
                <a:latin typeface="+mj-lt"/>
                <a:cs typeface="Arial" panose="020B0604020202020204" pitchFamily="34" charset="0"/>
              </a:rPr>
              <a:t>Al terminar la balacera retírese con precaución.</a:t>
            </a:r>
            <a:endParaRPr lang="es-MX" sz="1400" b="1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2" descr="Bullet Shot Hole Png Image - Bullet Hole In Target Transparent PNG -  2400x1152 - Free Download on NicePNG">
            <a:extLst>
              <a:ext uri="{FF2B5EF4-FFF2-40B4-BE49-F238E27FC236}">
                <a16:creationId xmlns:a16="http://schemas.microsoft.com/office/drawing/2014/main" id="{4482D1B9-B34B-FCC3-9145-D88478C99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31" b="89376" l="5366" r="94634">
                        <a14:foregroundMark x1="8659" y1="26559" x2="12561" y2="20554"/>
                        <a14:foregroundMark x1="52561" y1="87529" x2="54268" y2="76443"/>
                        <a14:foregroundMark x1="56829" y1="30254" x2="61463" y2="19630"/>
                        <a14:foregroundMark x1="85244" y1="38799" x2="89390" y2="27483"/>
                        <a14:foregroundMark x1="89512" y1="86143" x2="94756" y2="70670"/>
                        <a14:foregroundMark x1="94756" y1="70670" x2="94756" y2="70670"/>
                        <a14:foregroundMark x1="5366" y1="23788" x2="5366" y2="23788"/>
                        <a14:foregroundMark x1="25244" y1="49885" x2="34268" y2="49654"/>
                        <a14:foregroundMark x1="34268" y1="49654" x2="34268" y2="4942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799049" y="1993157"/>
            <a:ext cx="5372085" cy="283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93851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71138-E9AC-D254-F0C6-28D6A6EA3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b="1" cap="none" dirty="0">
                <a:solidFill>
                  <a:srgbClr val="001C71"/>
                </a:solidFill>
                <a:cs typeface="Arial" panose="020B0604020202020204" pitchFamily="34" charset="0"/>
              </a:rPr>
              <a:t>Recomendaciones ante balaceras</a:t>
            </a:r>
            <a:endParaRPr lang="es-MX" sz="3200" cap="none" dirty="0">
              <a:solidFill>
                <a:srgbClr val="001C71"/>
              </a:solidFill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7C1E5FA-6154-C2FE-86C0-218F121850C2}"/>
              </a:ext>
            </a:extLst>
          </p:cNvPr>
          <p:cNvSpPr txBox="1">
            <a:spLocks/>
          </p:cNvSpPr>
          <p:nvPr/>
        </p:nvSpPr>
        <p:spPr>
          <a:xfrm>
            <a:off x="581155" y="1593999"/>
            <a:ext cx="7355837" cy="4154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algn="just">
              <a:lnSpc>
                <a:spcPct val="120000"/>
              </a:lnSpc>
            </a:pPr>
            <a:r>
              <a:rPr lang="es-ES" sz="2400" b="1" u="sng" dirty="0">
                <a:latin typeface="+mj-lt"/>
                <a:cs typeface="Arial" panose="020B0604020202020204" pitchFamily="34" charset="0"/>
              </a:rPr>
              <a:t>Estar alerta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El conductor o peatón debe estar constantemente alerta. 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El mantenerse alerta es un hábito que se adquiere de concentrar la atención continuamente, sin permitirse distracciones; 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Significa estar atento a las situaciones peligrosas que pueden presentarse en cualquier momento. 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La mayor parte de las ocasiones se evitan accidentes si se perciben con peligros con anticipación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+mj-lt"/>
                <a:cs typeface="Arial" panose="020B0604020202020204" pitchFamily="34" charset="0"/>
              </a:rPr>
              <a:t>Los indicios anuncian el peligro y si se actúa con calma, es posible evitar daños.</a:t>
            </a:r>
            <a:endParaRPr lang="es-MX" sz="11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2" descr="Descarga ahora este icono en formato SVG, PSD, PNG, EPS o como fuente para  web. Flaticon, la mayor base de datos de ico… | Cliparts gratuitos, Set de  iconos, Iconos">
            <a:extLst>
              <a:ext uri="{FF2B5EF4-FFF2-40B4-BE49-F238E27FC236}">
                <a16:creationId xmlns:a16="http://schemas.microsoft.com/office/drawing/2014/main" id="{91EC6576-2E87-AD65-9E97-C499D61CA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757" y="1981470"/>
            <a:ext cx="2895059" cy="289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14007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0617" y="1803215"/>
            <a:ext cx="5825372" cy="2366353"/>
          </a:xfrm>
        </p:spPr>
        <p:txBody>
          <a:bodyPr>
            <a:normAutofit/>
          </a:bodyPr>
          <a:lstStyle/>
          <a:p>
            <a:pPr marL="233362" lvl="1" indent="0">
              <a:lnSpc>
                <a:spcPct val="120000"/>
              </a:lnSpc>
              <a:buNone/>
            </a:pPr>
            <a:r>
              <a:rPr lang="es-MX" sz="2000" dirty="0">
                <a:latin typeface="+mj-lt"/>
              </a:rPr>
              <a:t>Si llegas a sufrir algún incidente, </a:t>
            </a:r>
            <a:r>
              <a:rPr lang="es-MX" sz="2000" b="1" dirty="0">
                <a:latin typeface="+mj-lt"/>
              </a:rPr>
              <a:t>notifícalo. </a:t>
            </a:r>
          </a:p>
          <a:p>
            <a:pPr marL="233362" lvl="1" indent="0">
              <a:lnSpc>
                <a:spcPct val="120000"/>
              </a:lnSpc>
              <a:buNone/>
            </a:pPr>
            <a:r>
              <a:rPr lang="es-MX" sz="2000" b="1" dirty="0">
                <a:latin typeface="+mj-lt"/>
              </a:rPr>
              <a:t>Y si ves algo, di algo…</a:t>
            </a:r>
          </a:p>
          <a:p>
            <a:pPr marL="233362" lvl="1" indent="0">
              <a:lnSpc>
                <a:spcPct val="120000"/>
              </a:lnSpc>
              <a:buNone/>
            </a:pPr>
            <a:r>
              <a:rPr lang="es-MX" sz="2000" dirty="0">
                <a:latin typeface="+mj-lt"/>
              </a:rPr>
              <a:t>Tus reportes nos ayudaran a mantenerte a ti y</a:t>
            </a:r>
            <a:br>
              <a:rPr lang="es-MX" sz="2000" dirty="0">
                <a:latin typeface="+mj-lt"/>
              </a:rPr>
            </a:br>
            <a:r>
              <a:rPr lang="es-MX" sz="2000" dirty="0">
                <a:latin typeface="+mj-lt"/>
              </a:rPr>
              <a:t>al resto de los colaboradores protegido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205" y="474595"/>
            <a:ext cx="8069890" cy="536553"/>
          </a:xfrm>
        </p:spPr>
        <p:txBody>
          <a:bodyPr/>
          <a:lstStyle/>
          <a:p>
            <a:r>
              <a:rPr lang="es-MX" sz="3200" b="1" cap="none" dirty="0"/>
              <a:t>Contacto</a:t>
            </a:r>
            <a:endParaRPr lang="en-US" sz="3200" b="1" cap="none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838749-46C2-C0A9-4491-9022AA9A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874257"/>
              </p:ext>
            </p:extLst>
          </p:nvPr>
        </p:nvGraphicFramePr>
        <p:xfrm>
          <a:off x="1526510" y="4421248"/>
          <a:ext cx="8412480" cy="177595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7038">
                  <a:extLst>
                    <a:ext uri="{9D8B030D-6E8A-4147-A177-3AD203B41FA5}">
                      <a16:colId xmlns:a16="http://schemas.microsoft.com/office/drawing/2014/main" val="3907276376"/>
                    </a:ext>
                  </a:extLst>
                </a:gridCol>
                <a:gridCol w="6245442">
                  <a:extLst>
                    <a:ext uri="{9D8B030D-6E8A-4147-A177-3AD203B41FA5}">
                      <a16:colId xmlns:a16="http://schemas.microsoft.com/office/drawing/2014/main" val="155744843"/>
                    </a:ext>
                  </a:extLst>
                </a:gridCol>
              </a:tblGrid>
              <a:tr h="312622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tacto a Centro de Control </a:t>
                      </a:r>
                    </a:p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mpra Infraestructura México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01C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728382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+mj-lt"/>
                        </a:rPr>
                        <a:t>Lada sin costo (24 horas)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+mj-lt"/>
                        </a:rPr>
                        <a:t>(800) 890-354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886817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+mj-lt"/>
                        </a:rPr>
                        <a:t>Celular (WhatsApp)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+mj-lt"/>
                        </a:rPr>
                        <a:t>(55) 3223-2103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2888773"/>
                  </a:ext>
                </a:extLst>
              </a:tr>
              <a:tr h="29105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  <a:latin typeface="+mj-lt"/>
                        </a:rPr>
                        <a:t>Correo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u="sng" dirty="0">
                          <a:effectLst/>
                          <a:latin typeface="+mj-lt"/>
                          <a:hlinkClick r:id="rId5"/>
                        </a:rPr>
                        <a:t>seguridad_corporativa@sempraglobal.com.mx</a:t>
                      </a:r>
                      <a:r>
                        <a:rPr lang="es-ES" sz="1400" u="sng" dirty="0">
                          <a:effectLst/>
                          <a:latin typeface="+mj-lt"/>
                        </a:rPr>
                        <a:t>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4932"/>
                  </a:ext>
                </a:extLst>
              </a:tr>
              <a:tr h="40362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MX" sz="140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 con el Líder de Seguridad Patrimonial y Protección de tu región.</a:t>
                      </a:r>
                      <a:endParaRPr lang="es-MX" sz="1400" kern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541541"/>
                  </a:ext>
                </a:extLst>
              </a:tr>
            </a:tbl>
          </a:graphicData>
        </a:graphic>
      </p:graphicFrame>
      <p:pic>
        <p:nvPicPr>
          <p:cNvPr id="7" name="Picture 6" descr="Cartoon a cartoon of a person holding a phone&#10;&#10;Description automatically generated">
            <a:extLst>
              <a:ext uri="{FF2B5EF4-FFF2-40B4-BE49-F238E27FC236}">
                <a16:creationId xmlns:a16="http://schemas.microsoft.com/office/drawing/2014/main" id="{93279A49-3E6F-6AE5-3FD2-C5B8072D26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40095" y="1262828"/>
            <a:ext cx="3220000" cy="3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0633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mpra Template 2021_16x9">
  <a:themeElements>
    <a:clrScheme name="Sempra">
      <a:dk1>
        <a:srgbClr val="000000"/>
      </a:dk1>
      <a:lt1>
        <a:srgbClr val="FFFFFF"/>
      </a:lt1>
      <a:dk2>
        <a:srgbClr val="001C71"/>
      </a:dk2>
      <a:lt2>
        <a:srgbClr val="009BDA"/>
      </a:lt2>
      <a:accent1>
        <a:srgbClr val="001C71"/>
      </a:accent1>
      <a:accent2>
        <a:srgbClr val="009BDA"/>
      </a:accent2>
      <a:accent3>
        <a:srgbClr val="52C6D8"/>
      </a:accent3>
      <a:accent4>
        <a:srgbClr val="23AE49"/>
      </a:accent4>
      <a:accent5>
        <a:srgbClr val="FBDD3E"/>
      </a:accent5>
      <a:accent6>
        <a:srgbClr val="646E7B"/>
      </a:accent6>
      <a:hlink>
        <a:srgbClr val="001C71"/>
      </a:hlink>
      <a:folHlink>
        <a:srgbClr val="51C6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wrap="none" lIns="82058" tIns="41029" rIns="82058" bIns="41029" anchor="ctr"/>
      <a:lstStyle>
        <a:defPPr defTabSz="914382">
          <a:defRPr sz="1400">
            <a:solidFill>
              <a:srgbClr val="FFFFFF"/>
            </a:solidFill>
            <a:cs typeface="Arial" panose="020B0604020202020204" pitchFamily="34" charset="0"/>
          </a:defRPr>
        </a:defPPr>
      </a:lst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Eternal Blue">
      <a:srgbClr val="001C71"/>
    </a:custClr>
    <a:custClr name="Midday Sky">
      <a:srgbClr val="009BDA"/>
    </a:custClr>
    <a:custClr name="Cove Blue">
      <a:srgbClr val="52C6D8"/>
    </a:custClr>
    <a:custClr name="Field Green">
      <a:srgbClr val="23AE49"/>
    </a:custClr>
    <a:custClr name="Sunburst Yellow">
      <a:srgbClr val="FBDD3E"/>
    </a:custClr>
    <a:custClr name="Slate">
      <a:srgbClr val="646E7B"/>
    </a:custClr>
    <a:custClr name="White">
      <a:srgbClr val="FFFFFF"/>
    </a:custClr>
    <a:custClr name="Deep Sea Blue">
      <a:srgbClr val="0074A3"/>
    </a:custClr>
    <a:custClr name="Creek Stone">
      <a:srgbClr val="D9D1B4"/>
    </a:custClr>
    <a:custClr name="White">
      <a:srgbClr val="FFFFFF"/>
    </a:custClr>
    <a:custClr name="80% Eternal Blue">
      <a:srgbClr val="33498D"/>
    </a:custClr>
    <a:custClr name="80% Midday Sky">
      <a:srgbClr val="33AFE1"/>
    </a:custClr>
    <a:custClr name="80% Cove Blue">
      <a:srgbClr val="75D1E0"/>
    </a:custClr>
    <a:custClr name="80% Field Green">
      <a:srgbClr val="4FBE6D"/>
    </a:custClr>
    <a:custClr name="80% Sunburst Yellow">
      <a:srgbClr val="FCE465"/>
    </a:custClr>
    <a:custClr name="80% Slate">
      <a:srgbClr val="838B9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60% Eternal Blue">
      <a:srgbClr val="6677AA"/>
    </a:custClr>
    <a:custClr name="60% Midday Sky">
      <a:srgbClr val="66C3E9"/>
    </a:custClr>
    <a:custClr name="60% Cove Blue">
      <a:srgbClr val="97DDE8"/>
    </a:custClr>
    <a:custClr name="60% Field Green">
      <a:srgbClr val="7BCE92"/>
    </a:custClr>
    <a:custClr name="60% Sunburst Yellow">
      <a:srgbClr val="FDEB8B"/>
    </a:custClr>
    <a:custClr name="60% Slate">
      <a:srgbClr val="A2A8B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40% Eternal Blue">
      <a:srgbClr val="99A4C6"/>
    </a:custClr>
    <a:custClr name="40% Midday Sky">
      <a:srgbClr val="99D7F0"/>
    </a:custClr>
    <a:custClr name="40% Cove Blue">
      <a:srgbClr val="BAE8EF"/>
    </a:custClr>
    <a:custClr name="40% Field Green">
      <a:srgbClr val="A7DFB6"/>
    </a:custClr>
    <a:custClr name="40% Sunburst Yellow">
      <a:srgbClr val="FDF1B2"/>
    </a:custClr>
    <a:custClr name="40% Slate">
      <a:srgbClr val="C1C5CA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20% Eternal Blue">
      <a:srgbClr val="CCD2E3"/>
    </a:custClr>
    <a:custClr name="20% Midday Sky">
      <a:srgbClr val="CCEBF8"/>
    </a:custClr>
    <a:custClr name="20% Cove Blue">
      <a:srgbClr val="DCF4F7"/>
    </a:custClr>
    <a:custClr name="20% Field Green">
      <a:srgbClr val="D3EFDB"/>
    </a:custClr>
    <a:custClr name="20% Sunburst Yellow">
      <a:srgbClr val="FEF8D8"/>
    </a:custClr>
    <a:custClr name="20% Slate">
      <a:srgbClr val="E0E2E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empra Template 2021_16x9.potx  -  Read-Only" id="{95DC0F88-077E-4E18-831C-857305D94B88}" vid="{4BA7AFB1-3228-4B9C-862E-B3AC1687BB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16x9</Template>
  <TotalTime>265</TotalTime>
  <Words>372</Words>
  <Application>Microsoft Office PowerPoint</Application>
  <PresentationFormat>Widescreen</PresentationFormat>
  <Paragraphs>5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Wingdings</vt:lpstr>
      <vt:lpstr>Sempra Template 2021_16x9</vt:lpstr>
      <vt:lpstr>think-cell Slide</vt:lpstr>
      <vt:lpstr>Recomendaciones  de Seguridad PATRIMONIAL Y PROTECCIÓN</vt:lpstr>
      <vt:lpstr>Balaceras</vt:lpstr>
      <vt:lpstr>¿Qué hacer ante balaceras?</vt:lpstr>
      <vt:lpstr>Recomendaciones ante balaceras</vt:lpstr>
      <vt:lpstr>Contac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uz, Jose</dc:creator>
  <cp:lastModifiedBy>Maldonado, Mitzli</cp:lastModifiedBy>
  <cp:revision>23</cp:revision>
  <dcterms:created xsi:type="dcterms:W3CDTF">2021-04-26T21:32:13Z</dcterms:created>
  <dcterms:modified xsi:type="dcterms:W3CDTF">2023-09-26T01:03:17Z</dcterms:modified>
</cp:coreProperties>
</file>